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9"/>
  </p:notesMasterIdLst>
  <p:handoutMasterIdLst>
    <p:handoutMasterId r:id="rId10"/>
  </p:handoutMasterIdLst>
  <p:sldIdLst>
    <p:sldId id="358" r:id="rId3"/>
    <p:sldId id="398" r:id="rId4"/>
    <p:sldId id="383" r:id="rId5"/>
    <p:sldId id="389" r:id="rId6"/>
    <p:sldId id="397" r:id="rId7"/>
    <p:sldId id="396" r:id="rId8"/>
  </p:sldIdLst>
  <p:sldSz cx="9906000" cy="6858000" type="A4"/>
  <p:notesSz cx="6797675" cy="9874250"/>
  <p:custDataLst>
    <p:tags r:id="rId1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8394" autoAdjust="0"/>
  </p:normalViewPr>
  <p:slideViewPr>
    <p:cSldViewPr snapToGrid="0">
      <p:cViewPr varScale="1">
        <p:scale>
          <a:sx n="56" d="100"/>
          <a:sy n="56" d="100"/>
        </p:scale>
        <p:origin x="48" y="240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4/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3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smtClean="0"/>
              <a:t>SQL Express Angular &amp; Node 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/>
              <a:t>5</a:t>
            </a:r>
            <a:r>
              <a:rPr lang="en-US" baseline="30000" dirty="0" smtClean="0"/>
              <a:t>th</a:t>
            </a:r>
            <a:r>
              <a:rPr lang="en-US" dirty="0" smtClean="0"/>
              <a:t> April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dd Angular to UCB App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Todays session:</a:t>
            </a:r>
          </a:p>
          <a:p>
            <a:r>
              <a:rPr lang="en-GB" dirty="0" smtClean="0"/>
              <a:t>Add Angular to UCB</a:t>
            </a:r>
          </a:p>
          <a:p>
            <a:pPr lvl="1"/>
            <a:r>
              <a:rPr lang="en-GB" dirty="0" smtClean="0"/>
              <a:t>SQL Server</a:t>
            </a:r>
          </a:p>
          <a:p>
            <a:pPr lvl="1"/>
            <a:r>
              <a:rPr lang="en-GB" dirty="0" smtClean="0"/>
              <a:t>Express</a:t>
            </a:r>
          </a:p>
          <a:p>
            <a:pPr lvl="1"/>
            <a:r>
              <a:rPr lang="en-GB" dirty="0" smtClean="0"/>
              <a:t>Angular</a:t>
            </a:r>
          </a:p>
          <a:p>
            <a:pPr lvl="1"/>
            <a:r>
              <a:rPr lang="en-GB" dirty="0" smtClean="0"/>
              <a:t>Node</a:t>
            </a:r>
          </a:p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r>
              <a:rPr lang="en-GB" dirty="0" smtClean="0"/>
              <a:t>Use </a:t>
            </a:r>
            <a:r>
              <a:rPr lang="en-GB" dirty="0" err="1" smtClean="0"/>
              <a:t>GitHub</a:t>
            </a:r>
            <a:r>
              <a:rPr lang="en-GB" dirty="0" smtClean="0"/>
              <a:t> to clone </a:t>
            </a:r>
            <a:r>
              <a:rPr lang="en-GB" dirty="0" err="1" smtClean="0"/>
              <a:t>Quickstart</a:t>
            </a:r>
            <a:endParaRPr lang="en-GB" dirty="0" smtClean="0"/>
          </a:p>
          <a:p>
            <a:pPr marL="174625" lvl="1" indent="0">
              <a:buNone/>
            </a:pPr>
            <a:r>
              <a:rPr lang="en-GB" dirty="0" smtClean="0"/>
              <a:t>template</a:t>
            </a:r>
          </a:p>
          <a:p>
            <a:endParaRPr lang="en-GB" dirty="0"/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411" y="1744952"/>
            <a:ext cx="3457575" cy="41433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06368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dex.j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84560"/>
            <a:ext cx="9582608" cy="4990436"/>
          </a:xfrm>
        </p:spPr>
        <p:txBody>
          <a:bodyPr/>
          <a:lstStyle/>
          <a:p>
            <a:pPr marL="0" indent="0">
              <a:buNone/>
            </a:pPr>
            <a:endParaRPr lang="en-GB" sz="14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index.js</a:t>
            </a:r>
          </a:p>
          <a:p>
            <a:pPr marL="0" indent="0">
              <a:buNone/>
            </a:pPr>
            <a:r>
              <a:rPr lang="en-GB" sz="14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let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– local/block scope</a:t>
            </a:r>
          </a:p>
          <a:p>
            <a:pPr marL="0" indent="0">
              <a:buNone/>
            </a:pPr>
            <a:r>
              <a:rPr lang="en-GB" sz="1400" b="1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– global/</a:t>
            </a:r>
            <a:r>
              <a:rPr lang="en-GB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func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scope</a:t>
            </a:r>
          </a:p>
          <a:p>
            <a:pPr marL="0" indent="0">
              <a:buNone/>
            </a:pPr>
            <a:endParaRPr lang="en-GB" sz="14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// Where Server/Express can </a:t>
            </a:r>
          </a:p>
          <a:p>
            <a:pPr marL="0" indent="0">
              <a:buNone/>
            </a:pP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// find ‘static’ files – </a:t>
            </a:r>
          </a:p>
          <a:p>
            <a:pPr marL="0" indent="0">
              <a:buNone/>
            </a:pP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// html/</a:t>
            </a:r>
            <a:r>
              <a:rPr lang="en-GB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r>
              <a:rPr lang="en-GB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node_modules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/pic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b="1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app.use</a:t>
            </a:r>
            <a:r>
              <a:rPr lang="en-GB" sz="14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GB" sz="1400" b="1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xpress.static</a:t>
            </a:r>
            <a:r>
              <a:rPr lang="en-GB" sz="14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(..));</a:t>
            </a:r>
          </a:p>
          <a:p>
            <a:pPr marL="0" indent="0">
              <a:buNone/>
            </a:pPr>
            <a:endParaRPr lang="en-GB" sz="14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// Route hander 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b="1" dirty="0" err="1">
                <a:latin typeface="Consolas" panose="020B0609020204030204" pitchFamily="49" charset="0"/>
                <a:cs typeface="Consolas" panose="020B0609020204030204" pitchFamily="49" charset="0"/>
              </a:rPr>
              <a:t>app.use</a:t>
            </a:r>
            <a:r>
              <a:rPr lang="en-GB" sz="14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(‘/</a:t>
            </a:r>
            <a:r>
              <a:rPr lang="en-GB" sz="1400" b="1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bla</a:t>
            </a:r>
            <a:r>
              <a:rPr lang="en-GB" sz="14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’, </a:t>
            </a:r>
            <a:r>
              <a:rPr lang="en-GB" sz="1400" b="1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blaModule</a:t>
            </a:r>
            <a:r>
              <a:rPr lang="en-GB" sz="14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Integrated Terminal – 1.cmd</a:t>
            </a:r>
          </a:p>
          <a:p>
            <a:pPr marL="0" indent="0">
              <a:buNone/>
            </a:pP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EXPLORER pane – create/refresh</a:t>
            </a:r>
          </a:p>
          <a:p>
            <a:pPr marL="0" indent="0">
              <a:buNone/>
            </a:pP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nodemon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2402" y="446403"/>
            <a:ext cx="6346690" cy="5828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47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                                                Injectable Incident </a:t>
            </a:r>
            <a:r>
              <a:rPr lang="en-GB" dirty="0" err="1" smtClean="0"/>
              <a:t>Srv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                                                           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IncidentService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– one instance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			– Common/shared ref data public available to caller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			- Public methods to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			- No 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ngOnInit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(only for @Component)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1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1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1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1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			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What is wrong with below code?</a:t>
            </a:r>
            <a:endParaRPr lang="en-GB" sz="1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75" y="203507"/>
            <a:ext cx="5476875" cy="65055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8830" y="4111256"/>
            <a:ext cx="5095875" cy="20955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62092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gular Routing – on the Brows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146413"/>
            <a:ext cx="9582608" cy="4992104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Define route paths:</a:t>
            </a:r>
          </a:p>
          <a:p>
            <a:pPr marL="0" indent="0">
              <a:buNone/>
            </a:pPr>
            <a:r>
              <a:rPr lang="en-GB" dirty="0" smtClean="0"/>
              <a:t>Which Component are serviced by particular paths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err="1" smtClean="0"/>
              <a:t>RouteLinks</a:t>
            </a: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884" y="2392452"/>
            <a:ext cx="5019675" cy="12573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0868" y="5451906"/>
            <a:ext cx="4067175" cy="571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0868" y="4393595"/>
            <a:ext cx="48387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4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ming up… Angular 4.0.0 with .NE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r>
              <a:rPr lang="en-GB" dirty="0" smtClean="0"/>
              <a:t>UCB and Angular 4.0.0</a:t>
            </a:r>
          </a:p>
          <a:p>
            <a:r>
              <a:rPr lang="en-GB" dirty="0" smtClean="0"/>
              <a:t>.NET version of UCB with Angular screens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5027" y="2099916"/>
            <a:ext cx="6537277" cy="422531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541237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3027</TotalTime>
  <Words>122</Words>
  <Application>Microsoft Office PowerPoint</Application>
  <PresentationFormat>A4 Paper (210x297 mm)</PresentationFormat>
  <Paragraphs>59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onsolas</vt:lpstr>
      <vt:lpstr>Helvetica Light</vt:lpstr>
      <vt:lpstr>Wingdings</vt:lpstr>
      <vt:lpstr>ppt_Template_CoverOption1</vt:lpstr>
      <vt:lpstr>Section break</vt:lpstr>
      <vt:lpstr>think-cell Slide</vt:lpstr>
      <vt:lpstr>SQL Express Angular &amp; Node Lot4 Team</vt:lpstr>
      <vt:lpstr>Add Angular to UCB App</vt:lpstr>
      <vt:lpstr>Index.js</vt:lpstr>
      <vt:lpstr>                                                Injectable Incident Srv</vt:lpstr>
      <vt:lpstr>Angular Routing – on the Browser</vt:lpstr>
      <vt:lpstr>Coming up… Angular 4.0.0 with .NET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226</cp:revision>
  <dcterms:created xsi:type="dcterms:W3CDTF">2016-02-17T09:58:27Z</dcterms:created>
  <dcterms:modified xsi:type="dcterms:W3CDTF">2017-04-05T12:01:27Z</dcterms:modified>
</cp:coreProperties>
</file>